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Default Extension="wdp" ContentType="image/vnd.ms-photo"/>
  <Override PartName="/ppt/commentAuthors.xml" ContentType="application/vnd.openxmlformats-officedocument.presentationml.commentAuthors+xml"/>
  <Default Extension="vml" ContentType="application/vnd.openxmlformats-officedocument.vmlDrawing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bin" ContentType="application/vnd.openxmlformats-officedocument.oleObject"/>
  <Default Extension="png" ContentType="image/png"/>
  <Override PartName="/ppt/slideLayouts/slideLayout7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64" r:id="rId2"/>
  </p:sldMasterIdLst>
  <p:notesMasterIdLst>
    <p:notesMasterId r:id="rId11"/>
  </p:notesMasterIdLst>
  <p:sldIdLst>
    <p:sldId id="855" r:id="rId3"/>
    <p:sldId id="858" r:id="rId4"/>
    <p:sldId id="869" r:id="rId5"/>
    <p:sldId id="859" r:id="rId6"/>
    <p:sldId id="862" r:id="rId7"/>
    <p:sldId id="863" r:id="rId8"/>
    <p:sldId id="846" r:id="rId9"/>
    <p:sldId id="870" r:id="rId10"/>
  </p:sldIdLst>
  <p:sldSz cx="9144000" cy="5145088"/>
  <p:notesSz cx="6794500" cy="9906000"/>
  <p:custDataLst>
    <p:tags r:id="rId12"/>
  </p:custDataLst>
  <p:defaultTextStyle>
    <a:defPPr>
      <a:defRPr lang="ru-RU"/>
    </a:defPPr>
    <a:lvl1pPr marL="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4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8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12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16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20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24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28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32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Раздел по умолчанию" id="{B18C78A5-546A-44C8-AD58-D6193967D57C}">
          <p14:sldIdLst/>
        </p14:section>
        <p14:section name="Приложения" id="{F7690C41-91D2-4278-803E-41CCDDCFCDD2}">
          <p14:sldIdLst>
            <p14:sldId id="855"/>
            <p14:sldId id="858"/>
            <p14:sldId id="869"/>
            <p14:sldId id="859"/>
            <p14:sldId id="862"/>
            <p14:sldId id="863"/>
            <p14:sldId id="846"/>
            <p14:sldId id="870"/>
          </p14:sldIdLst>
        </p14:section>
        <p14:section name="Приложение" id="{1BD5B4CE-C90D-45A2-9618-97E3B6A481BC}">
          <p14:sldIdLst/>
        </p14:section>
        <p14:section name="Удалить" id="{1A127FE9-D94C-43E1-8A1F-09179AC4F8DC}">
          <p14:sldIdLst/>
        </p14:section>
      </p14:sectionLst>
    </p:ext>
    <p:ext uri="{EFAFB233-063F-42B5-8137-9DF3F51BA10A}">
      <p15:sldGuideLst xmlns:p15="http://schemas.microsoft.com/office/powerpoint/2012/main" xmlns="">
        <p15:guide id="1" orient="horz" pos="1621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80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Мареева Марина Владимировна" initials="ММВ" lastIdx="4" clrIdx="0"/>
  <p:cmAuthor id="1" name="Лапина Наталья Игоревна" initials="ЛНИ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1E6D36"/>
    <a:srgbClr val="FF6600"/>
    <a:srgbClr val="4CAF48"/>
    <a:srgbClr val="FF9933"/>
    <a:srgbClr val="C7EFD3"/>
    <a:srgbClr val="000000"/>
    <a:srgbClr val="FF0000"/>
    <a:srgbClr val="CCECFF"/>
    <a:srgbClr val="FFCCCC"/>
    <a:srgbClr val="0066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21003" autoAdjust="0"/>
    <p:restoredTop sz="99886" autoAdjust="0"/>
  </p:normalViewPr>
  <p:slideViewPr>
    <p:cSldViewPr>
      <p:cViewPr varScale="1">
        <p:scale>
          <a:sx n="100" d="100"/>
          <a:sy n="100" d="100"/>
        </p:scale>
        <p:origin x="-90" y="-816"/>
      </p:cViewPr>
      <p:guideLst>
        <p:guide orient="horz" pos="1621"/>
        <p:guide orient="horz" pos="1801"/>
        <p:guide pos="2880"/>
      </p:guideLst>
    </p:cSldViewPr>
  </p:slideViewPr>
  <p:outlineViewPr>
    <p:cViewPr>
      <p:scale>
        <a:sx n="33" d="100"/>
        <a:sy n="33" d="100"/>
      </p:scale>
      <p:origin x="0" y="7506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102" y="1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/>
          <a:lstStyle>
            <a:lvl1pPr algn="r">
              <a:defRPr sz="1200"/>
            </a:lvl1pPr>
          </a:lstStyle>
          <a:p>
            <a:fld id="{A2F3786B-C69B-47F7-8A4D-D928C61E7A8A}" type="datetimeFigureOut">
              <a:rPr lang="ru-RU" smtClean="0"/>
              <a:pPr/>
              <a:t>20.04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250" y="741363"/>
            <a:ext cx="6604000" cy="3716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86" tIns="45644" rIns="91286" bIns="45644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05985"/>
            <a:ext cx="5435600" cy="4457384"/>
          </a:xfrm>
          <a:prstGeom prst="rect">
            <a:avLst/>
          </a:prstGeom>
        </p:spPr>
        <p:txBody>
          <a:bodyPr vert="horz" lIns="91286" tIns="45644" rIns="91286" bIns="4564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08800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102" y="9408800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 anchor="b"/>
          <a:lstStyle>
            <a:lvl1pPr algn="r">
              <a:defRPr sz="1200"/>
            </a:lvl1pPr>
          </a:lstStyle>
          <a:p>
            <a:fld id="{E436914B-5603-4966-B479-144F5586E1E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164052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4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8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12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16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20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24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28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32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891098341"/>
              </p:ext>
            </p:extLst>
          </p:nvPr>
        </p:nvGraphicFramePr>
        <p:xfrm>
          <a:off x="1591" y="1642"/>
          <a:ext cx="1587" cy="1587"/>
        </p:xfrm>
        <a:graphic>
          <a:graphicData uri="http://schemas.openxmlformats.org/presentationml/2006/ole">
            <p:oleObj spid="_x0000_s276920" name="think-cell Slide" r:id="rId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8266" r="2445" b="602"/>
          <a:stretch/>
        </p:blipFill>
        <p:spPr>
          <a:xfrm>
            <a:off x="1" y="-20491"/>
            <a:ext cx="9180512" cy="518244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0825" y="3110635"/>
            <a:ext cx="6400800" cy="586082"/>
          </a:xfrm>
        </p:spPr>
        <p:txBody>
          <a:bodyPr>
            <a:normAutofit/>
          </a:bodyPr>
          <a:lstStyle>
            <a:lvl1pPr algn="l">
              <a:defRPr sz="1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5" y="3750437"/>
            <a:ext cx="6400800" cy="641278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 descr="Screen Shot 2013-12-24 at 12.16.45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79515" y="219432"/>
            <a:ext cx="2457291" cy="788803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0" y="1152122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6565298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 userDrawn="1">
          <p15:clr>
            <a:srgbClr val="FBAE40"/>
          </p15:clr>
        </p15:guide>
        <p15:guide id="2" pos="15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4961785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2032" y="204853"/>
            <a:ext cx="2776904" cy="871807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300046" y="204851"/>
            <a:ext cx="4718538" cy="4391190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22032" y="1076659"/>
            <a:ext cx="2776904" cy="3519383"/>
          </a:xfrm>
        </p:spPr>
        <p:txBody>
          <a:bodyPr/>
          <a:lstStyle>
            <a:lvl1pPr marL="0" indent="0">
              <a:buNone/>
              <a:defRPr sz="1200"/>
            </a:lvl1pPr>
            <a:lvl2pPr marL="389536" indent="0">
              <a:buNone/>
              <a:defRPr sz="1000"/>
            </a:lvl2pPr>
            <a:lvl3pPr marL="779071" indent="0">
              <a:buNone/>
              <a:defRPr sz="900"/>
            </a:lvl3pPr>
            <a:lvl4pPr marL="1168607" indent="0">
              <a:buNone/>
              <a:defRPr sz="800"/>
            </a:lvl4pPr>
            <a:lvl5pPr marL="1558140" indent="0">
              <a:buNone/>
              <a:defRPr sz="800"/>
            </a:lvl5pPr>
            <a:lvl6pPr marL="1947676" indent="0">
              <a:buNone/>
              <a:defRPr sz="800"/>
            </a:lvl6pPr>
            <a:lvl7pPr marL="2337211" indent="0">
              <a:buNone/>
              <a:defRPr sz="800"/>
            </a:lvl7pPr>
            <a:lvl8pPr marL="2726747" indent="0">
              <a:buNone/>
              <a:defRPr sz="800"/>
            </a:lvl8pPr>
            <a:lvl9pPr marL="3116282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31499865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54420" y="3601561"/>
            <a:ext cx="5064369" cy="425185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654420" y="459725"/>
            <a:ext cx="5064369" cy="3087053"/>
          </a:xfrm>
        </p:spPr>
        <p:txBody>
          <a:bodyPr/>
          <a:lstStyle>
            <a:lvl1pPr marL="0" indent="0">
              <a:buNone/>
              <a:defRPr sz="2700"/>
            </a:lvl1pPr>
            <a:lvl2pPr marL="389536" indent="0">
              <a:buNone/>
              <a:defRPr sz="2400"/>
            </a:lvl2pPr>
            <a:lvl3pPr marL="779071" indent="0">
              <a:buNone/>
              <a:defRPr sz="2000"/>
            </a:lvl3pPr>
            <a:lvl4pPr marL="1168607" indent="0">
              <a:buNone/>
              <a:defRPr sz="1700"/>
            </a:lvl4pPr>
            <a:lvl5pPr marL="1558140" indent="0">
              <a:buNone/>
              <a:defRPr sz="1700"/>
            </a:lvl5pPr>
            <a:lvl6pPr marL="1947676" indent="0">
              <a:buNone/>
              <a:defRPr sz="1700"/>
            </a:lvl6pPr>
            <a:lvl7pPr marL="2337211" indent="0">
              <a:buNone/>
              <a:defRPr sz="1700"/>
            </a:lvl7pPr>
            <a:lvl8pPr marL="2726747" indent="0">
              <a:buNone/>
              <a:defRPr sz="1700"/>
            </a:lvl8pPr>
            <a:lvl9pPr marL="3116282" indent="0">
              <a:buNone/>
              <a:defRPr sz="17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54420" y="4026746"/>
            <a:ext cx="5064369" cy="603833"/>
          </a:xfrm>
        </p:spPr>
        <p:txBody>
          <a:bodyPr/>
          <a:lstStyle>
            <a:lvl1pPr marL="0" indent="0">
              <a:buNone/>
              <a:defRPr sz="1200"/>
            </a:lvl1pPr>
            <a:lvl2pPr marL="389536" indent="0">
              <a:buNone/>
              <a:defRPr sz="1000"/>
            </a:lvl2pPr>
            <a:lvl3pPr marL="779071" indent="0">
              <a:buNone/>
              <a:defRPr sz="900"/>
            </a:lvl3pPr>
            <a:lvl4pPr marL="1168607" indent="0">
              <a:buNone/>
              <a:defRPr sz="800"/>
            </a:lvl4pPr>
            <a:lvl5pPr marL="1558140" indent="0">
              <a:buNone/>
              <a:defRPr sz="800"/>
            </a:lvl5pPr>
            <a:lvl6pPr marL="1947676" indent="0">
              <a:buNone/>
              <a:defRPr sz="800"/>
            </a:lvl6pPr>
            <a:lvl7pPr marL="2337211" indent="0">
              <a:buNone/>
              <a:defRPr sz="800"/>
            </a:lvl7pPr>
            <a:lvl8pPr marL="2726747" indent="0">
              <a:buNone/>
              <a:defRPr sz="800"/>
            </a:lvl8pPr>
            <a:lvl9pPr marL="3116282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37066606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xmlns="" val="35444878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076952" y="295366"/>
            <a:ext cx="1730619" cy="420658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83629" y="295366"/>
            <a:ext cx="5052646" cy="420658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xmlns="" val="2396530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5948" y="295368"/>
            <a:ext cx="5172808" cy="504981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883629" y="1283890"/>
            <a:ext cx="6923942" cy="3218062"/>
          </a:xfrm>
        </p:spPr>
        <p:txBody>
          <a:bodyPr/>
          <a:lstStyle/>
          <a:p>
            <a:pPr lvl="0"/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xmlns="" val="16688856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5948" y="295368"/>
            <a:ext cx="5172808" cy="504981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883629" y="1283890"/>
            <a:ext cx="6923942" cy="3218062"/>
          </a:xfrm>
        </p:spPr>
        <p:txBody>
          <a:bodyPr/>
          <a:lstStyle/>
          <a:p>
            <a:pPr lvl="0"/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xmlns="" val="34955768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956899" y="295366"/>
            <a:ext cx="7501303" cy="420658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xmlns="" val="38907659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idx="1"/>
          </p:nvPr>
        </p:nvSpPr>
        <p:spPr bwMode="auto">
          <a:xfrm>
            <a:off x="900114" y="1005886"/>
            <a:ext cx="7689850" cy="3496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899595" y="681751"/>
            <a:ext cx="5603875" cy="270113"/>
          </a:xfrm>
        </p:spPr>
        <p:txBody>
          <a:bodyPr/>
          <a:lstStyle>
            <a:lvl1pPr>
              <a:defRPr sz="1500" b="1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56210634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8736"/>
            <a:ext cx="2133600" cy="273928"/>
          </a:xfrm>
          <a:prstGeom prst="rect">
            <a:avLst/>
          </a:prstGeom>
        </p:spPr>
        <p:txBody>
          <a:bodyPr lIns="91408" tIns="45704" rIns="91408" bIns="45704"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8736"/>
            <a:ext cx="2895600" cy="273928"/>
          </a:xfrm>
          <a:prstGeom prst="rect">
            <a:avLst/>
          </a:prstGeom>
        </p:spPr>
        <p:txBody>
          <a:bodyPr lIns="91408" tIns="45704" rIns="91408" bIns="45704"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48464" y="4930802"/>
            <a:ext cx="442392" cy="234830"/>
          </a:xfrm>
          <a:prstGeom prst="rect">
            <a:avLst/>
          </a:prstGeom>
        </p:spPr>
        <p:txBody>
          <a:bodyPr lIns="91408" tIns="45704" rIns="91408" bIns="45704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8502E6E0-42AE-4DC2-A9DE-B4070DCB9E1B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58816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97946426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p:oleObj spid="_x0000_s279647" name="think-cell Slide" r:id="rId4" imgW="360" imgH="360" progId="">
              <p:embed/>
            </p:oleObj>
          </a:graphicData>
        </a:graphic>
      </p:graphicFrame>
      <p:sp>
        <p:nvSpPr>
          <p:cNvPr id="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847242" y="4845007"/>
            <a:ext cx="241953" cy="274722"/>
          </a:xfrm>
          <a:prstGeom prst="roundRect">
            <a:avLst/>
          </a:prstGeom>
          <a:solidFill>
            <a:srgbClr val="4CAF48"/>
          </a:solidFill>
          <a:effectLst>
            <a:softEdge rad="31750"/>
          </a:effectLst>
        </p:spPr>
        <p:txBody>
          <a:bodyPr vert="horz" lIns="0" tIns="45704" rIns="0" bIns="45704" rtlCol="0" anchor="ctr"/>
          <a:lstStyle>
            <a:lvl1pPr algn="ctr">
              <a:defRPr sz="900" b="1" i="1">
                <a:solidFill>
                  <a:schemeClr val="bg1"/>
                </a:solidFill>
                <a:latin typeface="+mj-lt"/>
              </a:defRPr>
            </a:lvl1pPr>
          </a:lstStyle>
          <a:p>
            <a:fld id="{575FED36-2639-4BD6-A414-DA56354A75E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000" y="270001"/>
            <a:ext cx="7040076" cy="504000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accent5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25310420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08" tIns="45704" rIns="91408" bIns="45704"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08" tIns="45704" rIns="91408" bIns="45704"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150548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33048" y="1598315"/>
            <a:ext cx="7174523" cy="1102859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66092" y="2915550"/>
            <a:ext cx="5908431" cy="1314856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389536" indent="0" algn="ctr">
              <a:buNone/>
              <a:defRPr/>
            </a:lvl2pPr>
            <a:lvl3pPr marL="779071" indent="0" algn="ctr">
              <a:buNone/>
              <a:defRPr/>
            </a:lvl3pPr>
            <a:lvl4pPr marL="1168607" indent="0" algn="ctr">
              <a:buNone/>
              <a:defRPr/>
            </a:lvl4pPr>
            <a:lvl5pPr marL="1558140" indent="0" algn="ctr">
              <a:buNone/>
              <a:defRPr/>
            </a:lvl5pPr>
            <a:lvl6pPr marL="1947676" indent="0" algn="ctr">
              <a:buNone/>
              <a:defRPr/>
            </a:lvl6pPr>
            <a:lvl7pPr marL="2337211" indent="0" algn="ctr">
              <a:buNone/>
              <a:defRPr/>
            </a:lvl7pPr>
            <a:lvl8pPr marL="2726747" indent="0" algn="ctr">
              <a:buNone/>
              <a:defRPr/>
            </a:lvl8pPr>
            <a:lvl9pPr marL="3116282" indent="0" algn="ctr">
              <a:buNone/>
              <a:defRPr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12699544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700"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xmlns="" val="15170993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66750" y="3306196"/>
            <a:ext cx="7174523" cy="1021872"/>
          </a:xfrm>
        </p:spPr>
        <p:txBody>
          <a:bodyPr/>
          <a:lstStyle>
            <a:lvl1pPr algn="l">
              <a:defRPr sz="3400" b="1" cap="all"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66750" y="2180708"/>
            <a:ext cx="7174523" cy="1125488"/>
          </a:xfrm>
        </p:spPr>
        <p:txBody>
          <a:bodyPr anchor="b"/>
          <a:lstStyle>
            <a:lvl1pPr marL="0" indent="0">
              <a:buNone/>
              <a:defRPr sz="1700" baseline="0">
                <a:latin typeface="Arial" pitchFamily="34" charset="0"/>
              </a:defRPr>
            </a:lvl1pPr>
            <a:lvl2pPr marL="389536" indent="0">
              <a:buNone/>
              <a:defRPr sz="1500"/>
            </a:lvl2pPr>
            <a:lvl3pPr marL="779071" indent="0">
              <a:buNone/>
              <a:defRPr sz="1400"/>
            </a:lvl3pPr>
            <a:lvl4pPr marL="1168607" indent="0">
              <a:buNone/>
              <a:defRPr sz="1200"/>
            </a:lvl4pPr>
            <a:lvl5pPr marL="1558140" indent="0">
              <a:buNone/>
              <a:defRPr sz="1200"/>
            </a:lvl5pPr>
            <a:lvl6pPr marL="1947676" indent="0">
              <a:buNone/>
              <a:defRPr sz="1200"/>
            </a:lvl6pPr>
            <a:lvl7pPr marL="2337211" indent="0">
              <a:buNone/>
              <a:defRPr sz="1200"/>
            </a:lvl7pPr>
            <a:lvl8pPr marL="2726747" indent="0">
              <a:buNone/>
              <a:defRPr sz="1200"/>
            </a:lvl8pPr>
            <a:lvl9pPr marL="3116282" indent="0">
              <a:buNone/>
              <a:defRPr sz="12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36135112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83628" y="1283890"/>
            <a:ext cx="3390900" cy="3218062"/>
          </a:xfrm>
        </p:spPr>
        <p:txBody>
          <a:bodyPr/>
          <a:lstStyle>
            <a:lvl1pPr>
              <a:defRPr sz="2400" baseline="0">
                <a:latin typeface="Arial" pitchFamily="34" charset="0"/>
              </a:defRPr>
            </a:lvl1pPr>
            <a:lvl2pPr>
              <a:defRPr sz="2000" baseline="0">
                <a:latin typeface="Arial" pitchFamily="34" charset="0"/>
              </a:defRPr>
            </a:lvl2pPr>
            <a:lvl3pPr>
              <a:defRPr sz="1700" baseline="0">
                <a:latin typeface="Arial" pitchFamily="34" charset="0"/>
              </a:defRPr>
            </a:lvl3pPr>
            <a:lvl4pPr>
              <a:defRPr sz="1500" baseline="0">
                <a:latin typeface="Arial" pitchFamily="34" charset="0"/>
              </a:defRPr>
            </a:lvl4pPr>
            <a:lvl5pPr>
              <a:defRPr sz="1500" baseline="0">
                <a:latin typeface="Arial" pitchFamily="34" charset="0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15206" y="1283890"/>
            <a:ext cx="3392365" cy="3218062"/>
          </a:xfrm>
        </p:spPr>
        <p:txBody>
          <a:bodyPr/>
          <a:lstStyle>
            <a:lvl1pPr>
              <a:defRPr sz="2400" baseline="0">
                <a:latin typeface="Arial" pitchFamily="34" charset="0"/>
              </a:defRPr>
            </a:lvl1pPr>
            <a:lvl2pPr>
              <a:defRPr sz="2000" baseline="0">
                <a:latin typeface="Arial" pitchFamily="34" charset="0"/>
              </a:defRPr>
            </a:lvl2pPr>
            <a:lvl3pPr>
              <a:defRPr sz="1700" baseline="0">
                <a:latin typeface="Arial" pitchFamily="34" charset="0"/>
              </a:defRPr>
            </a:lvl3pPr>
            <a:lvl4pPr>
              <a:defRPr sz="1500" baseline="0">
                <a:latin typeface="Arial" pitchFamily="34" charset="0"/>
              </a:defRPr>
            </a:lvl4pPr>
            <a:lvl5pPr>
              <a:defRPr sz="1500" baseline="0">
                <a:latin typeface="Arial" pitchFamily="34" charset="0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xmlns="" val="14197909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2032" y="206043"/>
            <a:ext cx="7596554" cy="85751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22031" y="1151690"/>
            <a:ext cx="3729404" cy="479970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536" indent="0">
              <a:buNone/>
              <a:defRPr sz="1700" b="1"/>
            </a:lvl2pPr>
            <a:lvl3pPr marL="779071" indent="0">
              <a:buNone/>
              <a:defRPr sz="1500" b="1"/>
            </a:lvl3pPr>
            <a:lvl4pPr marL="1168607" indent="0">
              <a:buNone/>
              <a:defRPr sz="1400" b="1"/>
            </a:lvl4pPr>
            <a:lvl5pPr marL="1558140" indent="0">
              <a:buNone/>
              <a:defRPr sz="1400" b="1"/>
            </a:lvl5pPr>
            <a:lvl6pPr marL="1947676" indent="0">
              <a:buNone/>
              <a:defRPr sz="1400" b="1"/>
            </a:lvl6pPr>
            <a:lvl7pPr marL="2337211" indent="0">
              <a:buNone/>
              <a:defRPr sz="1400" b="1"/>
            </a:lvl7pPr>
            <a:lvl8pPr marL="2726747" indent="0">
              <a:buNone/>
              <a:defRPr sz="1400" b="1"/>
            </a:lvl8pPr>
            <a:lvl9pPr marL="3116282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22031" y="1631661"/>
            <a:ext cx="3729404" cy="2964381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287716" y="1151690"/>
            <a:ext cx="3730869" cy="479970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536" indent="0">
              <a:buNone/>
              <a:defRPr sz="1700" b="1"/>
            </a:lvl2pPr>
            <a:lvl3pPr marL="779071" indent="0">
              <a:buNone/>
              <a:defRPr sz="1500" b="1"/>
            </a:lvl3pPr>
            <a:lvl4pPr marL="1168607" indent="0">
              <a:buNone/>
              <a:defRPr sz="1400" b="1"/>
            </a:lvl4pPr>
            <a:lvl5pPr marL="1558140" indent="0">
              <a:buNone/>
              <a:defRPr sz="1400" b="1"/>
            </a:lvl5pPr>
            <a:lvl6pPr marL="1947676" indent="0">
              <a:buNone/>
              <a:defRPr sz="1400" b="1"/>
            </a:lvl6pPr>
            <a:lvl7pPr marL="2337211" indent="0">
              <a:buNone/>
              <a:defRPr sz="1400" b="1"/>
            </a:lvl7pPr>
            <a:lvl8pPr marL="2726747" indent="0">
              <a:buNone/>
              <a:defRPr sz="1400" b="1"/>
            </a:lvl8pPr>
            <a:lvl9pPr marL="3116282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287716" y="1631661"/>
            <a:ext cx="3730869" cy="2964381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xmlns="" val="31778956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23390704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image" Target="../media/image5.jpeg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13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xmlns="" val="826338947"/>
              </p:ext>
            </p:extLst>
          </p:nvPr>
        </p:nvGraphicFramePr>
        <p:xfrm>
          <a:off x="1591" y="1642"/>
          <a:ext cx="1587" cy="1587"/>
        </p:xfrm>
        <a:graphic>
          <a:graphicData uri="http://schemas.openxmlformats.org/presentationml/2006/ole">
            <p:oleObj spid="_x0000_s275902" name="think-cell Slide" r:id="rId7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7067" y="8521"/>
            <a:ext cx="7040076" cy="1024783"/>
          </a:xfrm>
          <a:prstGeom prst="rect">
            <a:avLst/>
          </a:prstGeom>
        </p:spPr>
        <p:txBody>
          <a:bodyPr vert="horz" lIns="0" tIns="45704" rIns="91408" bIns="45704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7067" y="1283752"/>
            <a:ext cx="8469002" cy="3526800"/>
          </a:xfrm>
          <a:prstGeom prst="rect">
            <a:avLst/>
          </a:prstGeom>
        </p:spPr>
        <p:txBody>
          <a:bodyPr vert="horz" lIns="0" tIns="45704" rIns="91408" bIns="45704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625256" lvl="3" indent="-95217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dirty="0"/>
              <a:t>Fifth level</a:t>
            </a:r>
          </a:p>
        </p:txBody>
      </p:sp>
      <p:pic>
        <p:nvPicPr>
          <p:cNvPr id="9" name="Picture 8" descr="Screen Shot 2013-12-24 at 12.16.45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349426" y="241640"/>
            <a:ext cx="1739667" cy="558442"/>
          </a:xfrm>
          <a:prstGeom prst="rect">
            <a:avLst/>
          </a:prstGeom>
        </p:spPr>
      </p:pic>
      <p:cxnSp>
        <p:nvCxnSpPr>
          <p:cNvPr id="12" name="Straight Connector 11"/>
          <p:cNvCxnSpPr/>
          <p:nvPr/>
        </p:nvCxnSpPr>
        <p:spPr>
          <a:xfrm>
            <a:off x="0" y="1058957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847242" y="4845007"/>
            <a:ext cx="241953" cy="274722"/>
          </a:xfrm>
          <a:prstGeom prst="rect">
            <a:avLst/>
          </a:prstGeom>
        </p:spPr>
        <p:txBody>
          <a:bodyPr vert="horz" lIns="0" tIns="45704" rIns="0" bIns="45704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pPr defTabSz="457040"/>
            <a:fld id="{575FED36-2639-4BD6-A414-DA56354A75E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040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68026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4" r:id="rId3"/>
  </p:sldLayoutIdLst>
  <p:hf hdr="0" ftr="0" dt="0"/>
  <p:txStyles>
    <p:titleStyle>
      <a:lvl1pPr marL="0" indent="0" algn="l" defTabSz="457040" rtl="0" eaLnBrk="1" latinLnBrk="0" hangingPunct="1">
        <a:spcBef>
          <a:spcPct val="0"/>
        </a:spcBef>
        <a:buNone/>
        <a:defRPr sz="2100" b="1" kern="1200">
          <a:solidFill>
            <a:srgbClr val="0B592A"/>
          </a:solidFill>
          <a:latin typeface="+mj-lt"/>
          <a:ea typeface="+mj-ea"/>
          <a:cs typeface="+mj-cs"/>
        </a:defRPr>
      </a:lvl1pPr>
    </p:titleStyle>
    <p:bodyStyle>
      <a:lvl1pPr marL="180912" indent="-180912" algn="l" defTabSz="45704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200" kern="1200">
          <a:solidFill>
            <a:srgbClr val="464648"/>
          </a:solidFill>
          <a:latin typeface="+mj-lt"/>
          <a:ea typeface="+mn-ea"/>
          <a:cs typeface="+mn-cs"/>
        </a:defRPr>
      </a:lvl1pPr>
      <a:lvl2pPr marL="355476" indent="-174565" algn="l" defTabSz="457040" rtl="0" eaLnBrk="1" latinLnBrk="0" hangingPunct="1">
        <a:spcBef>
          <a:spcPct val="20000"/>
        </a:spcBef>
        <a:buFont typeface="Arial"/>
        <a:buChar char="–"/>
        <a:defRPr sz="1200" kern="1200">
          <a:solidFill>
            <a:srgbClr val="464648"/>
          </a:solidFill>
          <a:latin typeface="+mj-lt"/>
          <a:ea typeface="+mn-ea"/>
          <a:cs typeface="+mn-cs"/>
        </a:defRPr>
      </a:lvl2pPr>
      <a:lvl3pPr marL="450692" indent="-95217" algn="l" defTabSz="457040" rtl="0" eaLnBrk="1" latinLnBrk="0" hangingPunct="1">
        <a:spcBef>
          <a:spcPct val="20000"/>
        </a:spcBef>
        <a:buFont typeface="Wingdings" panose="05000000000000000000" pitchFamily="2" charset="2"/>
        <a:buChar char="§"/>
        <a:defRPr lang="en-US" sz="1200" kern="1200" dirty="0">
          <a:solidFill>
            <a:srgbClr val="464648"/>
          </a:solidFill>
          <a:latin typeface="+mj-lt"/>
          <a:ea typeface="+mn-ea"/>
          <a:cs typeface="+mn-cs"/>
        </a:defRPr>
      </a:lvl3pPr>
      <a:lvl4pPr marL="625256" indent="-174565" algn="l" defTabSz="457040" rtl="0" eaLnBrk="1" latinLnBrk="0" hangingPunct="1">
        <a:spcBef>
          <a:spcPct val="20000"/>
        </a:spcBef>
        <a:buFont typeface="Arial"/>
        <a:buChar char="–"/>
        <a:tabLst>
          <a:tab pos="537975" algn="l"/>
        </a:tabLst>
        <a:defRPr sz="1200" kern="1200">
          <a:solidFill>
            <a:srgbClr val="464648"/>
          </a:solidFill>
          <a:latin typeface="+mj-lt"/>
          <a:ea typeface="+mn-ea"/>
          <a:cs typeface="+mn-cs"/>
        </a:defRPr>
      </a:lvl4pPr>
      <a:lvl5pPr marL="450692" indent="-95217" algn="l" defTabSz="457040" rtl="0" eaLnBrk="1" latinLnBrk="0" hangingPunct="1">
        <a:spcBef>
          <a:spcPct val="20000"/>
        </a:spcBef>
        <a:buFont typeface="Arial"/>
        <a:buChar char="•"/>
        <a:tabLst>
          <a:tab pos="537975" algn="l"/>
        </a:tabLst>
        <a:defRPr sz="1200" kern="1200">
          <a:solidFill>
            <a:srgbClr val="464648"/>
          </a:solidFill>
          <a:latin typeface="+mj-lt"/>
          <a:ea typeface="+mn-ea"/>
          <a:cs typeface="+mn-cs"/>
        </a:defRPr>
      </a:lvl5pPr>
      <a:lvl6pPr marL="2513720" indent="-228520" algn="l" defTabSz="45704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60" indent="-228520" algn="l" defTabSz="45704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00" indent="-228520" algn="l" defTabSz="45704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40" indent="-228520" algn="l" defTabSz="45704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4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8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2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0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4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8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2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4" descr="LEFT_01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50109"/>
            <a:ext cx="646235" cy="4644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23" descr="LEFT_01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50109"/>
            <a:ext cx="646235" cy="4644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915866" y="295368"/>
            <a:ext cx="5603631" cy="504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866" y="920637"/>
            <a:ext cx="7829550" cy="3596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7907" tIns="38954" rIns="77907" bIns="3895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Click to edit Master text styles</a:t>
            </a:r>
          </a:p>
          <a:p>
            <a:pPr lvl="1"/>
            <a:r>
              <a:rPr lang="ru-RU" altLang="ru-RU"/>
              <a:t>Second level</a:t>
            </a:r>
          </a:p>
          <a:p>
            <a:pPr lvl="2"/>
            <a:r>
              <a:rPr lang="ru-RU" altLang="ru-RU"/>
              <a:t>Third level</a:t>
            </a:r>
          </a:p>
          <a:p>
            <a:pPr lvl="3"/>
            <a:r>
              <a:rPr lang="ru-RU" altLang="ru-RU"/>
              <a:t>Fourth level</a:t>
            </a:r>
          </a:p>
          <a:p>
            <a:pPr lvl="4"/>
            <a:r>
              <a:rPr lang="ru-RU" altLang="ru-RU"/>
              <a:t>Fifth level</a:t>
            </a:r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936384" y="761045"/>
            <a:ext cx="7809034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7907" tIns="38954" rIns="77907" bIns="38954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1" name="Line 9"/>
          <p:cNvSpPr>
            <a:spLocks noChangeShapeType="1"/>
          </p:cNvSpPr>
          <p:nvPr/>
        </p:nvSpPr>
        <p:spPr bwMode="auto">
          <a:xfrm>
            <a:off x="2" y="761045"/>
            <a:ext cx="652097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77907" tIns="38954" rIns="77907" bIns="38954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32" name="Picture 15" descr="logo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19546" y="275120"/>
            <a:ext cx="1872762" cy="372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3" name="Group 13"/>
          <p:cNvGrpSpPr>
            <a:grpSpLocks/>
          </p:cNvGrpSpPr>
          <p:nvPr/>
        </p:nvGrpSpPr>
        <p:grpSpPr bwMode="auto">
          <a:xfrm>
            <a:off x="8096250" y="4682984"/>
            <a:ext cx="1047750" cy="181031"/>
            <a:chOff x="5100" y="3932"/>
            <a:chExt cx="660" cy="152"/>
          </a:xfrm>
        </p:grpSpPr>
        <p:sp>
          <p:nvSpPr>
            <p:cNvPr id="1035" name="AutoShape 2"/>
            <p:cNvSpPr>
              <a:spLocks noChangeArrowheads="1"/>
            </p:cNvSpPr>
            <p:nvPr userDrawn="1"/>
          </p:nvSpPr>
          <p:spPr bwMode="auto">
            <a:xfrm>
              <a:off x="5100" y="3932"/>
              <a:ext cx="660" cy="152"/>
            </a:xfrm>
            <a:prstGeom prst="roundRect">
              <a:avLst>
                <a:gd name="adj" fmla="val 37500"/>
              </a:avLst>
            </a:prstGeom>
            <a:solidFill>
              <a:srgbClr val="7DC244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altLang="ru-RU" sz="2000" b="0" dirty="0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036" name="Rectangle 11"/>
            <p:cNvSpPr>
              <a:spLocks noChangeArrowheads="1"/>
            </p:cNvSpPr>
            <p:nvPr userDrawn="1"/>
          </p:nvSpPr>
          <p:spPr bwMode="auto">
            <a:xfrm>
              <a:off x="5664" y="3932"/>
              <a:ext cx="96" cy="152"/>
            </a:xfrm>
            <a:prstGeom prst="rect">
              <a:avLst/>
            </a:prstGeom>
            <a:solidFill>
              <a:srgbClr val="7DC244"/>
            </a:solidFill>
            <a:ln>
              <a:noFill/>
            </a:ln>
            <a:extLst/>
          </p:spPr>
          <p:txBody>
            <a:bodyPr wrap="none" lIns="0" tIns="0" rIns="0" bIns="0" anchor="ctr"/>
            <a:lstStyle>
              <a:lvl1pPr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altLang="ru-RU" b="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034" name="Rectangle 19"/>
          <p:cNvSpPr>
            <a:spLocks noChangeArrowheads="1"/>
          </p:cNvSpPr>
          <p:nvPr/>
        </p:nvSpPr>
        <p:spPr bwMode="auto">
          <a:xfrm>
            <a:off x="8197362" y="4669882"/>
            <a:ext cx="641838" cy="171503"/>
          </a:xfrm>
          <a:prstGeom prst="rect">
            <a:avLst/>
          </a:prstGeom>
          <a:noFill/>
          <a:ln>
            <a:noFill/>
          </a:ln>
          <a:extLst/>
        </p:spPr>
        <p:txBody>
          <a:bodyPr lIns="77907" tIns="38954" rIns="77907" bIns="38954"/>
          <a:lstStyle>
            <a:lvl1pPr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FEAECCD-03A5-4D0E-A27A-FF0C0CE03FB9}" type="slidenum">
              <a:rPr lang="ru-RU" altLang="ru-RU" sz="1000" smtClean="0">
                <a:solidFill>
                  <a:srgbClr val="000000"/>
                </a:solidFill>
                <a:ea typeface="ヒラギノ角ゴ Pro W3"/>
                <a:cs typeface="ヒラギノ角ゴ Pro W3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sz="1000" b="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91514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3" r:id="rId16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5pPr>
      <a:lvl6pPr marL="389536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779071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168607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558140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292152" indent="-292152" algn="l" rtl="0" eaLnBrk="0" fontAlgn="base" hangingPunct="0">
        <a:spcBef>
          <a:spcPts val="331"/>
        </a:spcBef>
        <a:spcAft>
          <a:spcPct val="0"/>
        </a:spcAft>
        <a:buFont typeface="Wingdings" pitchFamily="2" charset="2"/>
        <a:buChar char="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632994" indent="-243461" algn="l" rtl="0" eaLnBrk="0" fontAlgn="base" hangingPunct="0">
        <a:spcBef>
          <a:spcPts val="331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</a:defRPr>
      </a:lvl2pPr>
      <a:lvl3pPr marL="973838" indent="-194768" algn="l" rtl="0" eaLnBrk="0" fontAlgn="base" hangingPunct="0">
        <a:spcBef>
          <a:spcPts val="331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1330912" indent="-194768" algn="l" rtl="0" eaLnBrk="0" fontAlgn="base" hangingPunct="0">
        <a:spcBef>
          <a:spcPts val="331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</a:defRPr>
      </a:lvl4pPr>
      <a:lvl5pPr marL="1687987" indent="-194768" algn="l" rtl="0" eaLnBrk="0" fontAlgn="base" hangingPunct="0">
        <a:spcBef>
          <a:spcPts val="331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</a:defRPr>
      </a:lvl5pPr>
      <a:lvl6pPr marL="2077520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6pPr>
      <a:lvl7pPr marL="2467056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7pPr>
      <a:lvl8pPr marL="2856591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8pPr>
      <a:lvl9pPr marL="3246127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36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71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607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140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676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211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747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282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ЕКТ АГЕНТСКАЯ СЕТЬ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pPr/>
              <a:t>1</a:t>
            </a:fld>
            <a:endParaRPr lang="ru-RU"/>
          </a:p>
        </p:txBody>
      </p:sp>
      <p:sp>
        <p:nvSpPr>
          <p:cNvPr id="5" name="Объект 4"/>
          <p:cNvSpPr txBox="1">
            <a:spLocks/>
          </p:cNvSpPr>
          <p:nvPr/>
        </p:nvSpPr>
        <p:spPr>
          <a:xfrm>
            <a:off x="583409" y="1820660"/>
            <a:ext cx="5928698" cy="2539124"/>
          </a:xfrm>
          <a:prstGeom prst="rect">
            <a:avLst/>
          </a:prstGeom>
        </p:spPr>
        <p:txBody>
          <a:bodyPr vert="horz" wrap="square" lIns="0" tIns="45704" rIns="91408" bIns="45704" rtlCol="0">
            <a:spAutoFit/>
          </a:bodyPr>
          <a:lstStyle>
            <a:lvl1pPr marL="180912" indent="-180912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1pPr>
            <a:lvl2pPr marL="355476" indent="-174565" algn="l" defTabSz="45704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2pPr>
            <a:lvl3pPr marL="450692" indent="-95217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lang="en-US" sz="1200" kern="1200" dirty="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3pPr>
            <a:lvl4pPr marL="625256" indent="-174565" algn="l" defTabSz="457040" rtl="0" eaLnBrk="1" latinLnBrk="0" hangingPunct="1">
              <a:spcBef>
                <a:spcPct val="20000"/>
              </a:spcBef>
              <a:buFont typeface="Arial"/>
              <a:buChar char="–"/>
              <a:tabLst>
                <a:tab pos="537975" algn="l"/>
              </a:tabLst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4pPr>
            <a:lvl5pPr marL="450692" indent="-95217" algn="l" defTabSz="457040" rtl="0" eaLnBrk="1" latinLnBrk="0" hangingPunct="1">
              <a:spcBef>
                <a:spcPct val="20000"/>
              </a:spcBef>
              <a:buFont typeface="Arial"/>
              <a:buChar char="•"/>
              <a:tabLst>
                <a:tab pos="537975" algn="l"/>
              </a:tabLst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5pPr>
            <a:lvl6pPr marL="251372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76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80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84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 smtClean="0">
                <a:solidFill>
                  <a:schemeClr val="tx1"/>
                </a:solidFill>
                <a:latin typeface="+mn-lt"/>
              </a:rPr>
              <a:t>Агентская сеть – Партнеры Сбербанка, предоставляющие в своих торговых точках основные банковские услуги: </a:t>
            </a:r>
          </a:p>
          <a:p>
            <a:pPr marL="0" indent="0" defTabSz="914400">
              <a:buNone/>
            </a:pPr>
            <a:r>
              <a:rPr lang="ru-RU" sz="1500" b="1" dirty="0" smtClean="0">
                <a:solidFill>
                  <a:srgbClr val="1E6D36"/>
                </a:solidFill>
                <a:latin typeface="+mn-lt"/>
              </a:rPr>
              <a:t>снятие наличных, прием платежей и т.д.* </a:t>
            </a:r>
            <a:endParaRPr lang="ru-RU" sz="500" dirty="0" smtClean="0">
              <a:solidFill>
                <a:schemeClr val="tx1"/>
              </a:solidFill>
              <a:latin typeface="+mn-lt"/>
            </a:endParaRPr>
          </a:p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 smtClean="0">
                <a:solidFill>
                  <a:schemeClr val="tx1"/>
                </a:solidFill>
                <a:latin typeface="+mn-lt"/>
              </a:rPr>
              <a:t>Реализуется с помощью специального программного обеспечения на кассах </a:t>
            </a:r>
            <a:r>
              <a:rPr lang="ru-RU" sz="1500" dirty="0" err="1" smtClean="0">
                <a:solidFill>
                  <a:schemeClr val="tx1"/>
                </a:solidFill>
                <a:latin typeface="+mn-lt"/>
              </a:rPr>
              <a:t>Эвотор</a:t>
            </a:r>
            <a:endParaRPr lang="ru-RU" sz="1500" dirty="0" smtClean="0">
              <a:solidFill>
                <a:schemeClr val="tx1"/>
              </a:solidFill>
              <a:latin typeface="+mn-lt"/>
            </a:endParaRPr>
          </a:p>
          <a:p>
            <a:pPr marL="0" indent="0" defTabSz="914400">
              <a:buFont typeface="Wingdings" panose="05000000000000000000" pitchFamily="2" charset="2"/>
              <a:buNone/>
            </a:pPr>
            <a:endParaRPr lang="ru-RU" sz="500" dirty="0" smtClean="0">
              <a:solidFill>
                <a:schemeClr val="tx1"/>
              </a:solidFill>
              <a:latin typeface="+mn-lt"/>
            </a:endParaRPr>
          </a:p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 smtClean="0">
                <a:solidFill>
                  <a:schemeClr val="tx1"/>
                </a:solidFill>
                <a:latin typeface="+mn-lt"/>
              </a:rPr>
              <a:t>Банк оказывает технологическую, методологическую и маркетинговую поддержку предпринимателям </a:t>
            </a:r>
          </a:p>
          <a:p>
            <a:pPr marL="0" indent="0" defTabSz="914400">
              <a:buFont typeface="Wingdings" panose="05000000000000000000" pitchFamily="2" charset="2"/>
              <a:buNone/>
            </a:pPr>
            <a:endParaRPr lang="ru-RU" sz="500" dirty="0">
              <a:solidFill>
                <a:schemeClr val="tx1"/>
              </a:solidFill>
              <a:latin typeface="+mn-lt"/>
            </a:endParaRPr>
          </a:p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>
                <a:solidFill>
                  <a:schemeClr val="tx1"/>
                </a:solidFill>
                <a:latin typeface="+mn-lt"/>
              </a:rPr>
              <a:t>Для </a:t>
            </a:r>
            <a:r>
              <a:rPr lang="ru-RU" sz="1500" dirty="0" smtClean="0">
                <a:solidFill>
                  <a:schemeClr val="tx1"/>
                </a:solidFill>
                <a:latin typeface="+mn-lt"/>
              </a:rPr>
              <a:t>начала сотрудничества предприниматель подписывает с банком договор банковского платежного агента</a:t>
            </a:r>
            <a:endParaRPr lang="ru-RU" sz="15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Объект 4"/>
          <p:cNvSpPr txBox="1">
            <a:spLocks/>
          </p:cNvSpPr>
          <p:nvPr/>
        </p:nvSpPr>
        <p:spPr>
          <a:xfrm>
            <a:off x="560300" y="1220528"/>
            <a:ext cx="8259724" cy="600132"/>
          </a:xfrm>
          <a:prstGeom prst="rect">
            <a:avLst/>
          </a:prstGeom>
        </p:spPr>
        <p:txBody>
          <a:bodyPr vert="horz" wrap="square" lIns="0" tIns="45704" rIns="91408" bIns="45704" rtlCol="0">
            <a:spAutoFit/>
          </a:bodyPr>
          <a:lstStyle>
            <a:lvl1pPr marL="180912" indent="-180912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1pPr>
            <a:lvl2pPr marL="355476" indent="-174565" algn="l" defTabSz="45704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2pPr>
            <a:lvl3pPr marL="450692" indent="-95217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lang="en-US" sz="1200" kern="1200" dirty="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3pPr>
            <a:lvl4pPr marL="625256" indent="-174565" algn="l" defTabSz="457040" rtl="0" eaLnBrk="1" latinLnBrk="0" hangingPunct="1">
              <a:spcBef>
                <a:spcPct val="20000"/>
              </a:spcBef>
              <a:buFont typeface="Arial"/>
              <a:buChar char="–"/>
              <a:tabLst>
                <a:tab pos="537975" algn="l"/>
              </a:tabLst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4pPr>
            <a:lvl5pPr marL="450692" indent="-95217" algn="l" defTabSz="457040" rtl="0" eaLnBrk="1" latinLnBrk="0" hangingPunct="1">
              <a:spcBef>
                <a:spcPct val="20000"/>
              </a:spcBef>
              <a:buFont typeface="Arial"/>
              <a:buChar char="•"/>
              <a:tabLst>
                <a:tab pos="537975" algn="l"/>
              </a:tabLst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5pPr>
            <a:lvl6pPr marL="251372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76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80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84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b="1" dirty="0" smtClean="0">
                <a:solidFill>
                  <a:srgbClr val="1E6D36"/>
                </a:solidFill>
                <a:latin typeface="+mn-lt"/>
              </a:rPr>
              <a:t>ЦЕЛЬ -  Увеличить доступность основных банковских услуг для удаленных </a:t>
            </a:r>
          </a:p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b="1" dirty="0">
                <a:solidFill>
                  <a:srgbClr val="1E6D36"/>
                </a:solidFill>
                <a:latin typeface="+mn-lt"/>
              </a:rPr>
              <a:t> </a:t>
            </a:r>
            <a:r>
              <a:rPr lang="ru-RU" sz="1500" b="1" dirty="0" smtClean="0">
                <a:solidFill>
                  <a:srgbClr val="1E6D36"/>
                </a:solidFill>
                <a:latin typeface="+mn-lt"/>
              </a:rPr>
              <a:t>              малых населенных пунктов </a:t>
            </a:r>
            <a:endParaRPr lang="ru-RU" sz="1500" dirty="0">
              <a:solidFill>
                <a:srgbClr val="1E6D36"/>
              </a:solidFill>
              <a:latin typeface="+mn-lt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66792" y="1708448"/>
            <a:ext cx="2163970" cy="217886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583409" y="4537230"/>
            <a:ext cx="296626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ru-RU" sz="1400" b="1" i="1" dirty="0" smtClean="0">
                <a:solidFill>
                  <a:srgbClr val="1E6D36"/>
                </a:solidFill>
              </a:rPr>
              <a:t>* перечень </a:t>
            </a:r>
            <a:r>
              <a:rPr lang="ru-RU" sz="1400" b="1" i="1" dirty="0">
                <a:solidFill>
                  <a:srgbClr val="1E6D36"/>
                </a:solidFill>
              </a:rPr>
              <a:t>услуг </a:t>
            </a:r>
            <a:r>
              <a:rPr lang="ru-RU" sz="1400" b="1" i="1" dirty="0" smtClean="0">
                <a:solidFill>
                  <a:srgbClr val="1E6D36"/>
                </a:solidFill>
              </a:rPr>
              <a:t>пополняется</a:t>
            </a:r>
            <a:endParaRPr lang="ru-RU" sz="1400" b="1" i="1" dirty="0">
              <a:solidFill>
                <a:srgbClr val="1E6D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4286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0" name="Прямая со стрелкой 49"/>
          <p:cNvCxnSpPr/>
          <p:nvPr/>
        </p:nvCxnSpPr>
        <p:spPr>
          <a:xfrm flipV="1">
            <a:off x="6409514" y="3004592"/>
            <a:ext cx="0" cy="111846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>
            <a:stCxn id="25" idx="3"/>
          </p:cNvCxnSpPr>
          <p:nvPr/>
        </p:nvCxnSpPr>
        <p:spPr>
          <a:xfrm>
            <a:off x="2487736" y="4354047"/>
            <a:ext cx="3236392" cy="1379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>
            <a:stCxn id="24" idx="3"/>
          </p:cNvCxnSpPr>
          <p:nvPr/>
        </p:nvCxnSpPr>
        <p:spPr>
          <a:xfrm>
            <a:off x="2487736" y="3642266"/>
            <a:ext cx="328807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ЕКТ АГЕНТСКАЯ СЕТЬ</a:t>
            </a:r>
            <a:br>
              <a:rPr lang="ru-RU" dirty="0" smtClean="0"/>
            </a:br>
            <a:r>
              <a:rPr lang="ru-RU" sz="2000" dirty="0" smtClean="0">
                <a:solidFill>
                  <a:srgbClr val="1E6D36"/>
                </a:solidFill>
              </a:rPr>
              <a:t> </a:t>
            </a:r>
            <a:r>
              <a:rPr lang="ru-RU" sz="2000" dirty="0">
                <a:solidFill>
                  <a:srgbClr val="1E6D36"/>
                </a:solidFill>
              </a:rPr>
              <a:t>снятие наличных</a:t>
            </a:r>
            <a:r>
              <a:rPr lang="ru-RU" sz="2000" dirty="0" smtClean="0"/>
              <a:t>  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18319" y="1636440"/>
            <a:ext cx="914985" cy="128024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6690" y="3184517"/>
            <a:ext cx="1621430" cy="1470766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71600" y="1597078"/>
            <a:ext cx="1540089" cy="1304071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191592" y="1258525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Клиенты</a:t>
            </a:r>
            <a:endParaRPr lang="ru-RU" sz="1600" dirty="0"/>
          </a:p>
        </p:txBody>
      </p:sp>
      <p:sp>
        <p:nvSpPr>
          <p:cNvPr id="13" name="TextBox 12"/>
          <p:cNvSpPr txBox="1"/>
          <p:nvPr/>
        </p:nvSpPr>
        <p:spPr>
          <a:xfrm>
            <a:off x="5436096" y="1258525"/>
            <a:ext cx="15121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Агент Банка</a:t>
            </a:r>
            <a:endParaRPr lang="ru-RU" sz="1600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02095" y="1636440"/>
            <a:ext cx="746169" cy="1264710"/>
          </a:xfrm>
          <a:prstGeom prst="rect">
            <a:avLst/>
          </a:prstGeom>
        </p:spPr>
      </p:pic>
      <p:cxnSp>
        <p:nvCxnSpPr>
          <p:cNvPr id="19" name="Прямая со стрелкой 18"/>
          <p:cNvCxnSpPr/>
          <p:nvPr/>
        </p:nvCxnSpPr>
        <p:spPr>
          <a:xfrm>
            <a:off x="3059832" y="2068488"/>
            <a:ext cx="194421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/>
          <p:nvPr/>
        </p:nvCxnSpPr>
        <p:spPr>
          <a:xfrm flipH="1">
            <a:off x="3059832" y="2546200"/>
            <a:ext cx="1872208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2874015" y="1698575"/>
            <a:ext cx="2444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Запрос выдачи наличных</a:t>
            </a:r>
            <a:endParaRPr lang="ru-RU" sz="1400" dirty="0"/>
          </a:p>
        </p:txBody>
      </p:sp>
      <p:sp>
        <p:nvSpPr>
          <p:cNvPr id="23" name="TextBox 22"/>
          <p:cNvSpPr txBox="1"/>
          <p:nvPr/>
        </p:nvSpPr>
        <p:spPr>
          <a:xfrm>
            <a:off x="3139484" y="2212504"/>
            <a:ext cx="18531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Выдача наличных</a:t>
            </a:r>
            <a:endParaRPr lang="ru-RU" sz="1400" dirty="0"/>
          </a:p>
        </p:txBody>
      </p:sp>
      <p:sp>
        <p:nvSpPr>
          <p:cNvPr id="24" name="Rectangle 58"/>
          <p:cNvSpPr>
            <a:spLocks noChangeArrowheads="1"/>
          </p:cNvSpPr>
          <p:nvPr/>
        </p:nvSpPr>
        <p:spPr bwMode="auto">
          <a:xfrm>
            <a:off x="1043608" y="3364632"/>
            <a:ext cx="1444128" cy="555268"/>
          </a:xfrm>
          <a:prstGeom prst="rect">
            <a:avLst/>
          </a:prstGeom>
          <a:solidFill>
            <a:schemeClr val="bg1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1" hangingPunct="1"/>
            <a:r>
              <a:rPr lang="ru-RU" sz="1200" dirty="0" smtClean="0">
                <a:latin typeface="Century Schoolbook" panose="02040604050505020304" pitchFamily="18" charset="0"/>
              </a:rPr>
              <a:t>Списание денег с карты</a:t>
            </a:r>
            <a:endParaRPr kumimoji="0" lang="de-DE" sz="1200" b="0" dirty="0">
              <a:solidFill>
                <a:schemeClr val="tx1"/>
              </a:solidFill>
              <a:latin typeface="Century Schoolbook" panose="02040604050505020304" pitchFamily="18" charset="0"/>
            </a:endParaRPr>
          </a:p>
        </p:txBody>
      </p:sp>
      <p:sp>
        <p:nvSpPr>
          <p:cNvPr id="25" name="Rectangle 58"/>
          <p:cNvSpPr>
            <a:spLocks noChangeArrowheads="1"/>
          </p:cNvSpPr>
          <p:nvPr/>
        </p:nvSpPr>
        <p:spPr bwMode="auto">
          <a:xfrm>
            <a:off x="1048052" y="4083795"/>
            <a:ext cx="1439684" cy="540503"/>
          </a:xfrm>
          <a:prstGeom prst="rect">
            <a:avLst/>
          </a:prstGeom>
          <a:solidFill>
            <a:schemeClr val="bg1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1" hangingPunct="1"/>
            <a:r>
              <a:rPr lang="ru-RU" sz="1200" dirty="0" smtClean="0">
                <a:latin typeface="Century Schoolbook" panose="02040604050505020304" pitchFamily="18" charset="0"/>
              </a:rPr>
              <a:t>Учет в выписке, смс</a:t>
            </a:r>
            <a:endParaRPr kumimoji="0" lang="de-DE" sz="1200" b="0" dirty="0">
              <a:solidFill>
                <a:schemeClr val="tx1"/>
              </a:solidFill>
              <a:latin typeface="Century Schoolbook" panose="02040604050505020304" pitchFamily="18" charset="0"/>
            </a:endParaRP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auto">
          <a:xfrm>
            <a:off x="5724128" y="3350834"/>
            <a:ext cx="1370772" cy="580165"/>
          </a:xfrm>
          <a:prstGeom prst="rect">
            <a:avLst/>
          </a:prstGeom>
          <a:solidFill>
            <a:schemeClr val="bg1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1" hangingPunct="1"/>
            <a:r>
              <a:rPr lang="ru-RU" sz="1200" dirty="0" smtClean="0">
                <a:latin typeface="Century Schoolbook" panose="02040604050505020304" pitchFamily="18" charset="0"/>
              </a:rPr>
              <a:t>Зачисление суммы выдачи</a:t>
            </a:r>
            <a:endParaRPr kumimoji="0" lang="de-DE" sz="1200" b="0" dirty="0">
              <a:solidFill>
                <a:schemeClr val="tx1"/>
              </a:solidFill>
              <a:latin typeface="Century Schoolbook" panose="02040604050505020304" pitchFamily="18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auto">
          <a:xfrm>
            <a:off x="5724128" y="4123054"/>
            <a:ext cx="1370772" cy="533988"/>
          </a:xfrm>
          <a:prstGeom prst="rect">
            <a:avLst/>
          </a:prstGeom>
          <a:solidFill>
            <a:schemeClr val="bg1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1" hangingPunct="1"/>
            <a:r>
              <a:rPr lang="ru-RU" sz="1200" dirty="0" smtClean="0">
                <a:latin typeface="Century Schoolbook" panose="02040604050505020304" pitchFamily="18" charset="0"/>
              </a:rPr>
              <a:t>Зачисление комиссии</a:t>
            </a:r>
            <a:endParaRPr kumimoji="0" lang="de-DE" sz="1200" b="0" dirty="0">
              <a:solidFill>
                <a:schemeClr val="tx1"/>
              </a:solidFill>
              <a:latin typeface="Century Schoolbook" panose="02040604050505020304" pitchFamily="18" charset="0"/>
            </a:endParaRPr>
          </a:p>
        </p:txBody>
      </p:sp>
      <p:cxnSp>
        <p:nvCxnSpPr>
          <p:cNvPr id="31" name="Прямая со стрелкой 30"/>
          <p:cNvCxnSpPr>
            <a:stCxn id="24" idx="0"/>
          </p:cNvCxnSpPr>
          <p:nvPr/>
        </p:nvCxnSpPr>
        <p:spPr>
          <a:xfrm flipV="1">
            <a:off x="1765672" y="3076600"/>
            <a:ext cx="0" cy="28803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>
            <a:stCxn id="24" idx="2"/>
            <a:endCxn id="25" idx="0"/>
          </p:cNvCxnSpPr>
          <p:nvPr/>
        </p:nvCxnSpPr>
        <p:spPr>
          <a:xfrm>
            <a:off x="1765672" y="3919900"/>
            <a:ext cx="2222" cy="16389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7198610" y="1981671"/>
            <a:ext cx="1080120" cy="76944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00" dirty="0" smtClean="0"/>
              <a:t>Ежедневная сверка итогов с Банком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xmlns="" val="2205392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47664" y="2572544"/>
            <a:ext cx="1145311" cy="1085031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pPr/>
              <a:t>3</a:t>
            </a:fld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люсы для участников проекта Агентская сеть</a:t>
            </a:r>
            <a:endParaRPr lang="ru-RU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1187624" y="2212504"/>
            <a:ext cx="360040" cy="3600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 flipH="1">
            <a:off x="2692976" y="2164738"/>
            <a:ext cx="438864" cy="40780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381224" y="1386538"/>
            <a:ext cx="154466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увеличение потока клиентов - рост продаж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95536" y="2819362"/>
            <a:ext cx="8640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Агент Банка</a:t>
            </a:r>
            <a:endParaRPr lang="ru-RU" b="1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2555776" y="1393344"/>
            <a:ext cx="187220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 smtClean="0"/>
              <a:t>возможно снижение </a:t>
            </a:r>
            <a:r>
              <a:rPr lang="ru-RU" sz="1400" dirty="0"/>
              <a:t>ставки по договору </a:t>
            </a:r>
            <a:r>
              <a:rPr lang="ru-RU" sz="1400" dirty="0" err="1"/>
              <a:t>Эквайринга</a:t>
            </a:r>
            <a:r>
              <a:rPr lang="ru-RU" sz="1400" dirty="0"/>
              <a:t> </a:t>
            </a:r>
          </a:p>
        </p:txBody>
      </p:sp>
      <p:cxnSp>
        <p:nvCxnSpPr>
          <p:cNvPr id="18" name="Прямая соединительная линия 17"/>
          <p:cNvCxnSpPr>
            <a:stCxn id="5" idx="3"/>
          </p:cNvCxnSpPr>
          <p:nvPr/>
        </p:nvCxnSpPr>
        <p:spPr>
          <a:xfrm flipV="1">
            <a:off x="2692975" y="3115059"/>
            <a:ext cx="510873" cy="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/>
          <p:cNvSpPr/>
          <p:nvPr/>
        </p:nvSpPr>
        <p:spPr>
          <a:xfrm>
            <a:off x="3249051" y="2638005"/>
            <a:ext cx="12778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комиссии и бонусы за проведение операций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2640119" y="3735377"/>
            <a:ext cx="392635" cy="3600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 flipH="1">
            <a:off x="1259632" y="3741707"/>
            <a:ext cx="288032" cy="3600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250809" y="4082589"/>
            <a:ext cx="230496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уникальный сервис - конкурентное преимущество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0152" y="2561492"/>
            <a:ext cx="1134568" cy="1120561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7261463" y="2819362"/>
            <a:ext cx="1334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Сельские жители</a:t>
            </a:r>
            <a:endParaRPr lang="ru-RU" b="1" dirty="0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6588224" y="2093439"/>
            <a:ext cx="1" cy="40616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6935449" y="3915397"/>
            <a:ext cx="14640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spcBef>
                <a:spcPct val="20000"/>
              </a:spcBef>
              <a:defRPr/>
            </a:pPr>
            <a:r>
              <a:rPr lang="ru-RU" sz="1400" dirty="0"/>
              <a:t>з</a:t>
            </a:r>
            <a:r>
              <a:rPr lang="ru-RU" sz="1400" dirty="0" smtClean="0"/>
              <a:t>накомство с новыми технологиями </a:t>
            </a:r>
            <a:endParaRPr lang="ru-RU" sz="1400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5607756" y="1570219"/>
            <a:ext cx="26553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д</a:t>
            </a:r>
            <a:r>
              <a:rPr lang="ru-RU" sz="1400" dirty="0" smtClean="0"/>
              <a:t>оступность основных банковских услуг</a:t>
            </a:r>
            <a:endParaRPr lang="ru-RU" sz="1400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5173293" y="3915397"/>
            <a:ext cx="134059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spcBef>
                <a:spcPct val="20000"/>
              </a:spcBef>
              <a:defRPr/>
            </a:pPr>
            <a:r>
              <a:rPr lang="ru-RU" sz="1400" dirty="0"/>
              <a:t>повышение финансовой грамотности 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2384948" y="4209008"/>
            <a:ext cx="192583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зачисление денег на р/</a:t>
            </a:r>
            <a:r>
              <a:rPr lang="ru-RU" sz="1400" dirty="0" err="1"/>
              <a:t>сч</a:t>
            </a:r>
            <a:r>
              <a:rPr lang="ru-RU" sz="1400" dirty="0"/>
              <a:t> в режиме 24/7</a:t>
            </a:r>
          </a:p>
        </p:txBody>
      </p:sp>
      <p:cxnSp>
        <p:nvCxnSpPr>
          <p:cNvPr id="32" name="Прямая соединительная линия 31"/>
          <p:cNvCxnSpPr>
            <a:endCxn id="27" idx="0"/>
          </p:cNvCxnSpPr>
          <p:nvPr/>
        </p:nvCxnSpPr>
        <p:spPr>
          <a:xfrm flipH="1">
            <a:off x="5843591" y="3657575"/>
            <a:ext cx="240577" cy="25782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6935449" y="3637083"/>
            <a:ext cx="326014" cy="27831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90887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оходы и расходы Банковского платежного агент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834535" y="1730185"/>
            <a:ext cx="372213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Комиссия Агента </a:t>
            </a:r>
            <a:r>
              <a:rPr lang="ru-RU" sz="1200" dirty="0" smtClean="0"/>
              <a:t>(от суммы операции):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i="1" dirty="0" smtClean="0"/>
              <a:t>выдача наличных   – 0,01%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i="1" dirty="0" smtClean="0"/>
              <a:t>платежи   –  0,25%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511660" y="1119774"/>
            <a:ext cx="1944216" cy="50220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ДОХОДЫ </a:t>
            </a:r>
            <a:endParaRPr lang="ru-RU" b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5652120" y="1119773"/>
            <a:ext cx="1944216" cy="50220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РАСХОДЫ</a:t>
            </a:r>
            <a:endParaRPr lang="ru-RU" b="1" dirty="0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4716016" y="1518651"/>
            <a:ext cx="0" cy="2850237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539552" y="1708448"/>
            <a:ext cx="3888432" cy="1008112"/>
          </a:xfrm>
          <a:prstGeom prst="rect">
            <a:avLst/>
          </a:prstGeom>
          <a:noFill/>
          <a:ln w="1905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39552" y="2779585"/>
            <a:ext cx="3888432" cy="801071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Мотивационная программа</a:t>
            </a:r>
            <a:r>
              <a:rPr lang="ru-RU" sz="1600" dirty="0" smtClean="0">
                <a:solidFill>
                  <a:schemeClr val="tx1"/>
                </a:solidFill>
              </a:rPr>
              <a:t>: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sz="1400" i="1" dirty="0" smtClean="0">
                <a:solidFill>
                  <a:schemeClr val="tx1"/>
                </a:solidFill>
              </a:rPr>
              <a:t>Бонус за сотрудничество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sz="1400" i="1" dirty="0" smtClean="0">
                <a:solidFill>
                  <a:schemeClr val="tx1"/>
                </a:solidFill>
              </a:rPr>
              <a:t>Бонус за результат</a:t>
            </a:r>
            <a:endParaRPr lang="ru-RU" sz="1400" i="1" dirty="0">
              <a:solidFill>
                <a:schemeClr val="tx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39552" y="3645171"/>
            <a:ext cx="3888432" cy="438404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Специальная ставка </a:t>
            </a:r>
            <a:r>
              <a:rPr lang="ru-RU" sz="1600" dirty="0" err="1" smtClean="0">
                <a:solidFill>
                  <a:schemeClr val="tx1"/>
                </a:solidFill>
              </a:rPr>
              <a:t>Эквайринга</a:t>
            </a:r>
            <a:r>
              <a:rPr lang="ru-RU" sz="1600" dirty="0" smtClean="0">
                <a:solidFill>
                  <a:schemeClr val="tx1"/>
                </a:solidFill>
              </a:rPr>
              <a:t>  </a:t>
            </a:r>
            <a:endParaRPr lang="ru-RU" sz="1400" i="1" dirty="0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026333" y="1840758"/>
            <a:ext cx="3456384" cy="586794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Оплата налогов с доходов Агента </a:t>
            </a:r>
            <a:endParaRPr lang="ru-RU" sz="1400" i="1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39552" y="4148090"/>
            <a:ext cx="3888432" cy="745228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Дополнительная выручка*: </a:t>
            </a:r>
          </a:p>
          <a:p>
            <a:pPr algn="ctr"/>
            <a:r>
              <a:rPr lang="ru-RU" sz="1400" i="1" dirty="0" smtClean="0">
                <a:solidFill>
                  <a:schemeClr val="tx1"/>
                </a:solidFill>
              </a:rPr>
              <a:t>Рост выручки от текущих клиентов – 5%</a:t>
            </a:r>
          </a:p>
          <a:p>
            <a:pPr algn="ctr"/>
            <a:r>
              <a:rPr lang="ru-RU" sz="1400" i="1" dirty="0" smtClean="0">
                <a:solidFill>
                  <a:schemeClr val="tx1"/>
                </a:solidFill>
              </a:rPr>
              <a:t>Рост выручки от новых клиентов – 5%  </a:t>
            </a:r>
            <a:endParaRPr lang="ru-RU" sz="1200" i="1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034716" y="2646334"/>
            <a:ext cx="3456384" cy="586794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Оплата за аренду кассы </a:t>
            </a:r>
            <a:r>
              <a:rPr lang="ru-RU" sz="1600" dirty="0" err="1" smtClean="0">
                <a:solidFill>
                  <a:schemeClr val="tx1"/>
                </a:solidFill>
              </a:rPr>
              <a:t>Эвотор</a:t>
            </a:r>
            <a:r>
              <a:rPr lang="ru-RU" sz="1600" dirty="0" smtClean="0">
                <a:solidFill>
                  <a:schemeClr val="tx1"/>
                </a:solidFill>
              </a:rPr>
              <a:t> </a:t>
            </a:r>
            <a:r>
              <a:rPr lang="ru-RU" sz="1400" i="1" dirty="0" smtClean="0">
                <a:solidFill>
                  <a:schemeClr val="tx1"/>
                </a:solidFill>
              </a:rPr>
              <a:t>(при необходимости)</a:t>
            </a:r>
            <a:endParaRPr lang="ru-RU" sz="1200" i="1" dirty="0">
              <a:solidFill>
                <a:schemeClr val="tx1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5034716" y="3451910"/>
            <a:ext cx="3456384" cy="585740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Оплата за РКО и </a:t>
            </a:r>
            <a:r>
              <a:rPr lang="ru-RU" sz="1600" dirty="0" err="1" smtClean="0">
                <a:solidFill>
                  <a:schemeClr val="tx1"/>
                </a:solidFill>
              </a:rPr>
              <a:t>Эквайринг</a:t>
            </a:r>
            <a:r>
              <a:rPr lang="ru-RU" sz="1600" dirty="0" smtClean="0">
                <a:solidFill>
                  <a:schemeClr val="tx1"/>
                </a:solidFill>
              </a:rPr>
              <a:t> </a:t>
            </a:r>
            <a:endParaRPr lang="ru-RU" sz="1200" i="1" dirty="0">
              <a:solidFill>
                <a:schemeClr val="tx1"/>
              </a:solidFill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4716016" y="4368888"/>
            <a:ext cx="2561127" cy="1098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4644008" y="4588768"/>
            <a:ext cx="36724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i="1" dirty="0" smtClean="0">
                <a:solidFill>
                  <a:srgbClr val="1E6D36"/>
                </a:solidFill>
              </a:rPr>
              <a:t>*Оценка по  данным пилота 2018 года</a:t>
            </a:r>
            <a:endParaRPr lang="ru-RU" sz="1400" i="1" dirty="0">
              <a:solidFill>
                <a:srgbClr val="1E6D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13197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83330" y="3222717"/>
            <a:ext cx="2384888" cy="192237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ребования к Банковскому платежному агенту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pPr/>
              <a:t>5</a:t>
            </a:fld>
            <a:endParaRPr lang="ru-RU"/>
          </a:p>
        </p:txBody>
      </p:sp>
      <p:grpSp>
        <p:nvGrpSpPr>
          <p:cNvPr id="29" name="Группа 28"/>
          <p:cNvGrpSpPr/>
          <p:nvPr/>
        </p:nvGrpSpPr>
        <p:grpSpPr>
          <a:xfrm>
            <a:off x="611560" y="1385203"/>
            <a:ext cx="7947650" cy="3071929"/>
            <a:chOff x="411539" y="1507185"/>
            <a:chExt cx="6845435" cy="2606995"/>
          </a:xfrm>
        </p:grpSpPr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444615" y="2764401"/>
              <a:ext cx="6588563" cy="23507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marR="0" lvl="0" indent="-285750" defTabSz="330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8521700" algn="r"/>
                </a:tabLst>
                <a:defRPr/>
              </a:pPr>
              <a:r>
                <a:rPr lang="ru-RU" altLang="de-DE" dirty="0">
                  <a:solidFill>
                    <a:srgbClr val="000000"/>
                  </a:solidFill>
                </a:rPr>
                <a:t>К</a:t>
              </a:r>
              <a:r>
                <a:rPr lang="ru-RU" altLang="de-DE" dirty="0" smtClean="0">
                  <a:solidFill>
                    <a:srgbClr val="000000"/>
                  </a:solidFill>
                </a:rPr>
                <a:t>ассовое </a:t>
              </a:r>
              <a:r>
                <a:rPr lang="ru-RU" altLang="de-DE" dirty="0">
                  <a:solidFill>
                    <a:srgbClr val="000000"/>
                  </a:solidFill>
                </a:rPr>
                <a:t>оборудование </a:t>
              </a:r>
              <a:r>
                <a:rPr lang="ru-RU" altLang="de-DE" dirty="0" err="1">
                  <a:solidFill>
                    <a:srgbClr val="000000"/>
                  </a:solidFill>
                </a:rPr>
                <a:t>Эвотор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411539" y="1507185"/>
              <a:ext cx="6483600" cy="23507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marR="0" lvl="0" indent="-285750" algn="l" defTabSz="330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8521700" algn="r"/>
                </a:tabLst>
                <a:defRPr/>
              </a:pPr>
              <a:r>
                <a:rPr kumimoji="0" lang="ru-RU" altLang="de-DE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Форма налогообложения предприятия: УСН</a:t>
              </a:r>
              <a:endParaRPr kumimoji="0" lang="en-US" altLang="de-DE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/>
          </p:nvSpPr>
          <p:spPr bwMode="auto">
            <a:xfrm>
              <a:off x="431707" y="2320652"/>
              <a:ext cx="3440510" cy="23451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indent="-285750" defTabSz="330200">
                <a:buFont typeface="Arial" panose="020B0604020202020204" pitchFamily="34" charset="0"/>
                <a:buChar char="•"/>
                <a:tabLst>
                  <a:tab pos="8521700" algn="r"/>
                </a:tabLst>
              </a:pPr>
              <a:r>
                <a:rPr lang="ru-RU" altLang="de-DE" dirty="0">
                  <a:solidFill>
                    <a:srgbClr val="000000"/>
                  </a:solidFill>
                </a:rPr>
                <a:t>Наличие эквайринга в </a:t>
              </a:r>
              <a:r>
                <a:rPr lang="ru-RU" altLang="de-DE" dirty="0" smtClean="0">
                  <a:solidFill>
                    <a:srgbClr val="000000"/>
                  </a:solidFill>
                </a:rPr>
                <a:t>Сбербанке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16"/>
            <p:cNvSpPr>
              <a:spLocks noChangeArrowheads="1"/>
            </p:cNvSpPr>
            <p:nvPr/>
          </p:nvSpPr>
          <p:spPr bwMode="auto">
            <a:xfrm>
              <a:off x="411539" y="1881860"/>
              <a:ext cx="6845435" cy="263824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indent="-285750" defTabSz="330200">
                <a:buFont typeface="Arial" panose="020B0604020202020204" pitchFamily="34" charset="0"/>
                <a:buChar char="•"/>
                <a:tabLst>
                  <a:tab pos="8521700" algn="r"/>
                </a:tabLst>
              </a:pPr>
              <a:r>
                <a:rPr lang="ru-RU" altLang="de-DE" dirty="0">
                  <a:solidFill>
                    <a:srgbClr val="000000"/>
                  </a:solidFill>
                </a:rPr>
                <a:t>Наличие расчётного счета в </a:t>
              </a:r>
              <a:r>
                <a:rPr lang="ru-RU" altLang="de-DE" dirty="0" smtClean="0">
                  <a:solidFill>
                    <a:srgbClr val="000000"/>
                  </a:solidFill>
                </a:rPr>
                <a:t>Сбербанке/открыть </a:t>
              </a:r>
              <a:r>
                <a:rPr lang="ru-RU" altLang="de-DE" dirty="0">
                  <a:solidFill>
                    <a:srgbClr val="000000"/>
                  </a:solidFill>
                </a:rPr>
                <a:t>расчетный </a:t>
              </a:r>
              <a:r>
                <a:rPr lang="ru-RU" altLang="de-DE" dirty="0" smtClean="0">
                  <a:solidFill>
                    <a:srgbClr val="000000"/>
                  </a:solidFill>
                </a:rPr>
                <a:t>счет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23" name="Rectangle 16"/>
            <p:cNvSpPr>
              <a:spLocks noChangeArrowheads="1"/>
            </p:cNvSpPr>
            <p:nvPr/>
          </p:nvSpPr>
          <p:spPr bwMode="auto">
            <a:xfrm>
              <a:off x="448069" y="3173878"/>
              <a:ext cx="6588563" cy="94030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marR="0" lvl="0" indent="-285750" defTabSz="330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8521700" algn="r"/>
                </a:tabLst>
                <a:defRPr/>
              </a:pPr>
              <a:r>
                <a:rPr lang="ru-RU" altLang="de-DE" dirty="0" smtClean="0">
                  <a:solidFill>
                    <a:srgbClr val="000000"/>
                  </a:solidFill>
                </a:rPr>
                <a:t>Устойчивая связь / Интернет сигнал не менее 128 кб/с для выдачи наличных, не менее 1</a:t>
              </a:r>
              <a:r>
                <a:rPr lang="ru-RU" dirty="0" smtClean="0"/>
                <a:t>.0 </a:t>
              </a:r>
              <a:r>
                <a:rPr lang="ru-RU" dirty="0" err="1"/>
                <a:t>мб</a:t>
              </a:r>
              <a:r>
                <a:rPr lang="ru-RU" dirty="0"/>
                <a:t>/с минимальная, 1.5мб/с </a:t>
              </a:r>
              <a:r>
                <a:rPr lang="ru-RU" dirty="0" err="1" smtClean="0"/>
                <a:t>рекомендуеиая</a:t>
              </a:r>
              <a:r>
                <a:rPr lang="ru-RU" dirty="0" smtClean="0"/>
                <a:t> для приема платежей </a:t>
              </a:r>
              <a:endParaRPr lang="ru-RU" altLang="de-DE" dirty="0" smtClean="0">
                <a:solidFill>
                  <a:srgbClr val="000000"/>
                </a:solidFill>
              </a:endParaRPr>
            </a:p>
            <a:p>
              <a:pPr marL="285750" marR="0" lvl="0" indent="-285750" defTabSz="330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8521700" algn="r"/>
                </a:tabLst>
                <a:defRPr/>
              </a:pPr>
              <a:endParaRPr lang="en-US" altLang="de-DE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526403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23085"/>
            <a:ext cx="6752044" cy="1024783"/>
          </a:xfrm>
        </p:spPr>
        <p:txBody>
          <a:bodyPr/>
          <a:lstStyle/>
          <a:p>
            <a:r>
              <a:rPr lang="ru-RU" dirty="0" smtClean="0"/>
              <a:t>Как стать Банковским платежным агентом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903834" y="1420416"/>
            <a:ext cx="74168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1.</a:t>
            </a:r>
            <a:r>
              <a:rPr lang="ru-RU" b="1" dirty="0" smtClean="0">
                <a:solidFill>
                  <a:srgbClr val="FF0000"/>
                </a:solidFill>
              </a:rPr>
              <a:t> 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Проверить режим 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налогообложения  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(возможно только для УСН,ОСН)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99592" y="2212504"/>
            <a:ext cx="7416824" cy="19928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2. Подключить РКО и </a:t>
            </a:r>
            <a:r>
              <a:rPr lang="ru-RU" b="1" dirty="0" err="1" smtClean="0">
                <a:solidFill>
                  <a:schemeClr val="bg1">
                    <a:lumMod val="50000"/>
                  </a:schemeClr>
                </a:solidFill>
              </a:rPr>
              <a:t>Эквайринг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 ПАО Сбербанк </a:t>
            </a:r>
          </a:p>
          <a:p>
            <a:endParaRPr lang="ru-RU" sz="1100" b="1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3. Подписать договор Банковского платежного агента</a:t>
            </a:r>
          </a:p>
          <a:p>
            <a:endParaRPr lang="ru-RU" sz="1050" b="1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4. Получить 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ОКВЭД № 6619 (налоговая/личный кабинет </a:t>
            </a: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on-line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endParaRPr lang="ru-RU" sz="1050" b="1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5. Зарегистрировать </a:t>
            </a:r>
            <a:r>
              <a:rPr lang="ru-RU" b="1" dirty="0" err="1">
                <a:solidFill>
                  <a:schemeClr val="bg1">
                    <a:lumMod val="50000"/>
                  </a:schemeClr>
                </a:solidFill>
              </a:rPr>
              <a:t>Эвотор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 в ФНС </a:t>
            </a:r>
            <a:endParaRPr lang="ru-RU" b="1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</a:rPr>
              <a:t>- в </a:t>
            </a:r>
            <a:r>
              <a:rPr lang="ru-RU" sz="1600" dirty="0">
                <a:solidFill>
                  <a:schemeClr val="bg1">
                    <a:lumMod val="50000"/>
                  </a:schemeClr>
                </a:solidFill>
              </a:rPr>
              <a:t>случае аренды у </a:t>
            </a: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</a:rPr>
              <a:t>Банка </a:t>
            </a:r>
            <a:r>
              <a:rPr lang="ru-RU" sz="1600" dirty="0">
                <a:solidFill>
                  <a:schemeClr val="bg1">
                    <a:lumMod val="50000"/>
                  </a:schemeClr>
                </a:solidFill>
              </a:rPr>
              <a:t>регистрацию проводит банковский </a:t>
            </a: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</a:rPr>
              <a:t>специалист</a:t>
            </a:r>
            <a:endParaRPr lang="ru-RU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73128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dirty="0" smtClean="0"/>
              <a:t>Описание услуги «Выдача наличных»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2013548" y="1780456"/>
            <a:ext cx="7075647" cy="2562240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>
                <a:latin typeface="+mn-lt"/>
              </a:rPr>
              <a:t>лимит снятия наличных денежных средств  в сутки  – </a:t>
            </a:r>
            <a:r>
              <a:rPr lang="ru-RU" sz="1400" dirty="0" smtClean="0">
                <a:latin typeface="+mn-lt"/>
              </a:rPr>
              <a:t>5 </a:t>
            </a:r>
            <a:r>
              <a:rPr lang="ru-RU" sz="1400" dirty="0">
                <a:latin typeface="+mn-lt"/>
              </a:rPr>
              <a:t>000 рублей;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>
                <a:latin typeface="+mn-lt"/>
              </a:rPr>
              <a:t>обслуживание </a:t>
            </a:r>
            <a:r>
              <a:rPr lang="ru-RU" sz="1400" dirty="0" smtClean="0">
                <a:latin typeface="+mn-lt"/>
              </a:rPr>
              <a:t>банковских </a:t>
            </a:r>
            <a:r>
              <a:rPr lang="ru-RU" sz="1400" dirty="0">
                <a:latin typeface="+mn-lt"/>
              </a:rPr>
              <a:t>карт, эмитированных ПАО Сбербанк;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>
                <a:latin typeface="+mn-lt"/>
              </a:rPr>
              <a:t>валюта выдачи – рубли;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>
                <a:latin typeface="+mn-lt"/>
              </a:rPr>
              <a:t>операции выдачи наличных кратны 100 рублям</a:t>
            </a:r>
            <a:r>
              <a:rPr lang="ru-RU" sz="1400" dirty="0" smtClean="0">
                <a:latin typeface="+mn-lt"/>
              </a:rPr>
              <a:t>; 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 smtClean="0">
                <a:latin typeface="+mn-lt"/>
              </a:rPr>
              <a:t>минимальная сумма выдачи 100 рублей</a:t>
            </a:r>
            <a:endParaRPr lang="ru-RU" sz="1400" dirty="0">
              <a:latin typeface="+mn-lt"/>
            </a:endParaRP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проведение операции через POS-терминал контактным способом с обязательным вводом </a:t>
            </a:r>
            <a:r>
              <a:rPr lang="ru-RU" sz="1400" dirty="0" smtClean="0"/>
              <a:t>PIN-кода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 smtClean="0"/>
              <a:t>оплата услуг ЖКХ при </a:t>
            </a:r>
            <a:r>
              <a:rPr lang="ru-RU" sz="1400" smtClean="0"/>
              <a:t>предъявлении квитанции </a:t>
            </a:r>
            <a:endParaRPr lang="en-US" sz="14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04103" y="1225858"/>
            <a:ext cx="1493305" cy="362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03341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dirty="0" smtClean="0"/>
              <a:t>Описание услуги «Прием платежей»</a:t>
            </a:r>
            <a:endParaRPr lang="ru-RU" sz="2400" dirty="0"/>
          </a:p>
        </p:txBody>
      </p:sp>
      <p:pic>
        <p:nvPicPr>
          <p:cNvPr id="7" name="Picture 6" descr="Picture 6">
            <a:extLst>
              <a:ext uri="{FF2B5EF4-FFF2-40B4-BE49-F238E27FC236}">
                <a16:creationId xmlns:a16="http://schemas.microsoft.com/office/drawing/2014/main" xmlns="" id="{03E78533-7E90-DD4D-A77A-BAAEFC7EEB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colorTemperature colorTemp="7200"/>
                    </a14:imgEffect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23529" y="1564432"/>
            <a:ext cx="2733786" cy="2992543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3203848" y="1189022"/>
            <a:ext cx="5472608" cy="379334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Для приемы платежей на он-</a:t>
            </a:r>
            <a:r>
              <a:rPr lang="ru-RU" sz="1400" dirty="0" err="1"/>
              <a:t>лайн</a:t>
            </a:r>
            <a:r>
              <a:rPr lang="ru-RU" sz="1400" dirty="0"/>
              <a:t> кассе магазина должно быть установлено приложение Банка «Мои платежи»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Прием платежей возможен как с использованием сканера </a:t>
            </a:r>
            <a:r>
              <a:rPr lang="ru-RU" sz="1400" dirty="0" err="1"/>
              <a:t>штрихкода</a:t>
            </a:r>
            <a:r>
              <a:rPr lang="ru-RU" sz="1400" dirty="0"/>
              <a:t> (2</a:t>
            </a:r>
            <a:r>
              <a:rPr lang="en-US" sz="1400" dirty="0"/>
              <a:t>d </a:t>
            </a:r>
            <a:r>
              <a:rPr lang="ru-RU" sz="1400" dirty="0"/>
              <a:t>сканер), так и с ручным вводом реквизитов с квитанции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Для подтверждения платежа (и суммы комиссии при наличии) клиент подписывает Распоряжение (печатается на он-</a:t>
            </a:r>
            <a:r>
              <a:rPr lang="ru-RU" sz="1400" dirty="0" err="1"/>
              <a:t>лайн</a:t>
            </a:r>
            <a:r>
              <a:rPr lang="ru-RU" sz="1400" dirty="0"/>
              <a:t> кассе)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Оплата возможна с  банковских карт любых банков;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Валюта операции – рубли;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Комиссия банка равна комиссии в офисе Банка;</a:t>
            </a:r>
          </a:p>
          <a:p>
            <a:pPr marL="342900" lvl="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В подтверждение факта приема платежа клиенту выдается чек </a:t>
            </a:r>
          </a:p>
        </p:txBody>
      </p:sp>
    </p:spTree>
    <p:extLst>
      <p:ext uri="{BB962C8B-B14F-4D97-AF65-F5344CB8AC3E}">
        <p14:creationId xmlns:p14="http://schemas.microsoft.com/office/powerpoint/2010/main" xmlns="" val="3766282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3.87559000000000030000E+000&quot;&gt;&lt;m_msothmcolidx val=&quot;0&quot;/&gt;&lt;m_rgb r=&quot;06&quot; g=&quot;06&quot; b=&quot;E1&quot;/&gt;&lt;m_nBrightness val=&quot;0&quot;/&gt;&lt;/elem&gt;&lt;elem m_fUsage=&quot;8.10000000000000050000E-001&quot;&gt;&lt;m_msothmcolidx val=&quot;0&quot;/&gt;&lt;m_rgb r=&quot;0B&quot; g=&quot;59&quot; b=&quot;2A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Главный слайд">
  <a:themeElements>
    <a:clrScheme name="Custom 7">
      <a:dk1>
        <a:srgbClr val="000000"/>
      </a:dk1>
      <a:lt1>
        <a:sysClr val="window" lastClr="FFFFFF"/>
      </a:lt1>
      <a:dk2>
        <a:srgbClr val="95C23F"/>
      </a:dk2>
      <a:lt2>
        <a:srgbClr val="EEECE1"/>
      </a:lt2>
      <a:accent1>
        <a:srgbClr val="0B592A"/>
      </a:accent1>
      <a:accent2>
        <a:srgbClr val="328263"/>
      </a:accent2>
      <a:accent3>
        <a:srgbClr val="FF6600"/>
      </a:accent3>
      <a:accent4>
        <a:srgbClr val="C6DE27"/>
      </a:accent4>
      <a:accent5>
        <a:srgbClr val="17AF38"/>
      </a:accent5>
      <a:accent6>
        <a:srgbClr val="FFAE18"/>
      </a:accent6>
      <a:hlink>
        <a:srgbClr val="0B592A"/>
      </a:hlink>
      <a:folHlink>
        <a:srgbClr val="17AF38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sber_present_gedonizm1">
  <a:themeElements>
    <a:clrScheme name="sber_present_gedonizm1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652</TotalTime>
  <Words>498</Words>
  <Application>Microsoft Office PowerPoint</Application>
  <PresentationFormat>Произвольный</PresentationFormat>
  <Paragraphs>89</Paragraphs>
  <Slides>8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1" baseType="lpstr">
      <vt:lpstr>Главный слайд</vt:lpstr>
      <vt:lpstr>sber_present_gedonizm1</vt:lpstr>
      <vt:lpstr>think-cell Slide</vt:lpstr>
      <vt:lpstr>ПРОЕКТ АГЕНТСКАЯ СЕТЬ</vt:lpstr>
      <vt:lpstr>ПРОЕКТ АГЕНТСКАЯ СЕТЬ  снятие наличных   </vt:lpstr>
      <vt:lpstr>Плюсы для участников проекта Агентская сеть</vt:lpstr>
      <vt:lpstr>Доходы и расходы Банковского платежного агента</vt:lpstr>
      <vt:lpstr>Требования к Банковскому платежному агенту</vt:lpstr>
      <vt:lpstr>Как стать Банковским платежным агентом</vt:lpstr>
      <vt:lpstr>Описание услуги «Выдача наличных»</vt:lpstr>
      <vt:lpstr>Описание услуги «Прием платежей»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Цыганова Алла Алексеевна</dc:creator>
  <cp:lastModifiedBy>vakulenkon</cp:lastModifiedBy>
  <cp:revision>2992</cp:revision>
  <cp:lastPrinted>2017-02-13T10:48:59Z</cp:lastPrinted>
  <dcterms:created xsi:type="dcterms:W3CDTF">2014-10-09T11:20:04Z</dcterms:created>
  <dcterms:modified xsi:type="dcterms:W3CDTF">2021-04-20T11:45:57Z</dcterms:modified>
</cp:coreProperties>
</file>